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B7B7"/>
    <a:srgbClr val="5A5A5A"/>
    <a:srgbClr val="444444"/>
    <a:srgbClr val="F6F6F6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0:11.844" v="70" actId="103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0:11.844" v="70" actId="103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2DBB8583-6B76-4E74-B866-74BDDD3E6FE9}"/>
    <pc:docChg chg="modSld">
      <pc:chgData name="Weigel Stefan (PAR-EPS)" userId="fd3b2067-2981-4ad8-bf3a-d2e1004e4fa8" providerId="ADAL" clId="{2DBB8583-6B76-4E74-B866-74BDDD3E6FE9}" dt="2024-02-28T11:58:25.561" v="19" actId="27918"/>
      <pc:docMkLst>
        <pc:docMk/>
      </pc:docMkLst>
      <pc:sldChg chg="modSp mod">
        <pc:chgData name="Weigel Stefan (PAR-EPS)" userId="fd3b2067-2981-4ad8-bf3a-d2e1004e4fa8" providerId="ADAL" clId="{2DBB8583-6B76-4E74-B866-74BDDD3E6FE9}" dt="2024-02-28T11:58:25.561" v="19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2DBB8583-6B76-4E74-B866-74BDDD3E6FE9}" dt="2024-02-28T11:53:21.589" v="0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2DBB8583-6B76-4E74-B866-74BDDD3E6FE9}" dt="2024-02-28T11:53:29.946" v="1"/>
          <ac:spMkLst>
            <pc:docMk/>
            <pc:sldMk cId="3158517815" sldId="412"/>
            <ac:spMk id="6" creationId="{858CAFD8-585A-425D-B84C-7C6D2EEC02EE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aint-Gothard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914608999999999</c:v>
                </c:pt>
                <c:pt idx="1">
                  <c:v>18.405615000000001</c:v>
                </c:pt>
                <c:pt idx="2">
                  <c:v>17.842801000000001</c:v>
                </c:pt>
                <c:pt idx="3">
                  <c:v>16.624806</c:v>
                </c:pt>
                <c:pt idx="4">
                  <c:v>14.843216999999999</c:v>
                </c:pt>
                <c:pt idx="5">
                  <c:v>16.882899999999999</c:v>
                </c:pt>
                <c:pt idx="6">
                  <c:v>17.179015</c:v>
                </c:pt>
                <c:pt idx="7">
                  <c:v>17.63063</c:v>
                </c:pt>
                <c:pt idx="8">
                  <c:v>20.640112999999999</c:v>
                </c:pt>
                <c:pt idx="9">
                  <c:v>22.394874000000002</c:v>
                </c:pt>
                <c:pt idx="10">
                  <c:v>20.8280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342789</c:v>
                </c:pt>
                <c:pt idx="1">
                  <c:v>13.915381999999999</c:v>
                </c:pt>
                <c:pt idx="2">
                  <c:v>15.303774000000001</c:v>
                </c:pt>
                <c:pt idx="3">
                  <c:v>16.884143000000002</c:v>
                </c:pt>
                <c:pt idx="4">
                  <c:v>17.496600999999998</c:v>
                </c:pt>
                <c:pt idx="5">
                  <c:v>16.113721000000002</c:v>
                </c:pt>
                <c:pt idx="6">
                  <c:v>14.807741999999999</c:v>
                </c:pt>
                <c:pt idx="7">
                  <c:v>12.384786999999999</c:v>
                </c:pt>
                <c:pt idx="8">
                  <c:v>13.208899000000001</c:v>
                </c:pt>
                <c:pt idx="9">
                  <c:v>10.993043999999999</c:v>
                </c:pt>
                <c:pt idx="10">
                  <c:v>10.89884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1888</cdr:x>
      <cdr:y>0.052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630548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latin typeface="+mj-lt"/>
              <a:cs typeface="Arial" pitchFamily="34" charset="0"/>
            </a:rPr>
            <a:t>M t nette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fic marchandises transalpin sur rail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72919153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ume du trafic réalisé par l’ensemble des entreprises de transport ferroviaire sur l’infrastructure des CFF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170649"/>
          </a:xfr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6D7F5C-99C0-4597-9A67-AE7241B58D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ic marchandises transalpin sur rai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ic marchandises transalpin sur rail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2:0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